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35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02970179575012E-2"/>
          <c:y val="3.1195118656279552E-2"/>
          <c:w val="0.96761077746637603"/>
          <c:h val="0.7773821807068276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38100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  <c:pt idx="5">
                  <c:v>3</c:v>
                </c:pt>
                <c:pt idx="6">
                  <c:v>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8D6-4F8D-A5EB-2CD39AD4108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  <c:pt idx="5">
                  <c:v>3.2</c:v>
                </c:pt>
                <c:pt idx="6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D6-4F8D-A5EB-2CD39AD4108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3810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38100">
                <a:solidFill>
                  <a:schemeClr val="accent5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4.2</c:v>
                </c:pt>
                <c:pt idx="5">
                  <c:v>1.6</c:v>
                </c:pt>
                <c:pt idx="6">
                  <c:v>3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D6-4F8D-A5EB-2CD39AD41088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48184991"/>
        <c:axId val="148183351"/>
      </c:lineChart>
      <c:catAx>
        <c:axId val="14818499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183351"/>
        <c:crosses val="autoZero"/>
        <c:auto val="1"/>
        <c:lblAlgn val="ctr"/>
        <c:lblOffset val="100"/>
        <c:noMultiLvlLbl val="0"/>
      </c:catAx>
      <c:valAx>
        <c:axId val="148183351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184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D26079-995F-E46A-A7F0-AEFB1214A6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26">
            <a:extLst>
              <a:ext uri="{FF2B5EF4-FFF2-40B4-BE49-F238E27FC236}">
                <a16:creationId xmlns:a16="http://schemas.microsoft.com/office/drawing/2014/main" id="{72021D6B-C800-AB93-D2E4-D8ABAB8C1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Chart-Dominant Split Slid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8AA3B80-D8F3-6842-CEDD-A06DAA535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307777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Heading</a:t>
            </a:r>
            <a:endParaRPr lang="en-US" altLang="ko-KR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34C28F-98A2-FE6A-BCEF-3128666F0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3335D377-3712-00D3-45F0-AB7EAFE82592}"/>
              </a:ext>
            </a:extLst>
          </p:cNvPr>
          <p:cNvSpPr txBox="1">
            <a:spLocks/>
          </p:cNvSpPr>
          <p:nvPr/>
        </p:nvSpPr>
        <p:spPr>
          <a:xfrm>
            <a:off x="714374" y="1889656"/>
            <a:ext cx="10715625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BF60B9F3-AA6C-E9A3-5B59-44A1BA4D7392}"/>
              </a:ext>
            </a:extLst>
          </p:cNvPr>
          <p:cNvSpPr txBox="1">
            <a:spLocks/>
          </p:cNvSpPr>
          <p:nvPr/>
        </p:nvSpPr>
        <p:spPr>
          <a:xfrm>
            <a:off x="12197654" y="2400300"/>
            <a:ext cx="5375970" cy="66018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's</a:t>
            </a:r>
          </a:p>
        </p:txBody>
      </p:sp>
      <p:graphicFrame>
        <p:nvGraphicFramePr>
          <p:cNvPr id="4" name="图表 1">
            <a:extLst>
              <a:ext uri="{FF2B5EF4-FFF2-40B4-BE49-F238E27FC236}">
                <a16:creationId xmlns:a16="http://schemas.microsoft.com/office/drawing/2014/main" id="{8AB2877E-0C64-128E-A508-36BB714C974D}"/>
              </a:ext>
            </a:extLst>
          </p:cNvPr>
          <p:cNvGraphicFramePr>
            <a:graphicFrameLocks/>
          </p:cNvGraphicFramePr>
          <p:nvPr/>
        </p:nvGraphicFramePr>
        <p:xfrm>
          <a:off x="714375" y="2502762"/>
          <a:ext cx="10715625" cy="6712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003404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98</TotalTime>
  <Words>149</Words>
  <Application>Microsoft Office PowerPoint</Application>
  <PresentationFormat>Custom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Chart-Dominant Split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92</cp:revision>
  <dcterms:created xsi:type="dcterms:W3CDTF">2006-08-16T00:00:00Z</dcterms:created>
  <dcterms:modified xsi:type="dcterms:W3CDTF">2025-10-06T09:01:46Z</dcterms:modified>
  <cp:category/>
  <dc:identifier>DAGkDf5R9EM</dc:identifier>
</cp:coreProperties>
</file>